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drawings/drawing2.xml" ContentType="application/vnd.openxmlformats-officedocument.drawingml.chartshapes+xml"/>
  <Override PartName="/ppt/charts/chart7.xml" ContentType="application/vnd.openxmlformats-officedocument.drawingml.chart+xml"/>
  <Override PartName="/ppt/drawings/drawing3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86" r:id="rId2"/>
    <p:sldId id="281" r:id="rId3"/>
    <p:sldId id="279" r:id="rId4"/>
    <p:sldId id="282" r:id="rId5"/>
    <p:sldId id="280" r:id="rId6"/>
    <p:sldId id="264" r:id="rId7"/>
    <p:sldId id="276" r:id="rId8"/>
    <p:sldId id="283" r:id="rId9"/>
    <p:sldId id="277" r:id="rId10"/>
    <p:sldId id="278" r:id="rId11"/>
    <p:sldId id="285" r:id="rId12"/>
    <p:sldId id="284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6EB60"/>
    <a:srgbClr val="FFCC66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5" autoAdjust="0"/>
    <p:restoredTop sz="94660"/>
  </p:normalViewPr>
  <p:slideViewPr>
    <p:cSldViewPr snapToGrid="0">
      <p:cViewPr>
        <p:scale>
          <a:sx n="99" d="100"/>
          <a:sy n="99" d="100"/>
        </p:scale>
        <p:origin x="-248" y="48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Book1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BBY804\Desktop\Early%20College%20One-Pager%20Charts_6-29-20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BY804\Desktop\Early%20College%20One-Pager%20Charts_6-29-20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BY804\Desktop\Early%20College%20One-Pager%20Charts_6-29-20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BY804\Desktop\Early%20College%20One-Pager%20Charts_6-29-20.xlsx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BBY804\Desktop\Early%20College%20One-Pager%20Charts_6-29-20.xlsx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Users\BBY804\Desktop\Early%20College%20One-Pager%20Charts_6-29-20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C$4</c:f>
              <c:strCache>
                <c:ptCount val="1"/>
                <c:pt idx="0">
                  <c:v>Income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</c:spPr>
            <c:extLst>
              <c:ext xmlns:c16="http://schemas.microsoft.com/office/drawing/2014/chart" uri="{C3380CC4-5D6E-409C-BE32-E72D297353CC}">
                <c16:uniqueId val="{00000001-9AEA-3E43-B890-AB533501134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5:$B$6</c:f>
              <c:strCache>
                <c:ptCount val="2"/>
                <c:pt idx="0">
                  <c:v>Low-Income </c:v>
                </c:pt>
                <c:pt idx="1">
                  <c:v>Non-Low-Income</c:v>
                </c:pt>
              </c:strCache>
            </c:strRef>
          </c:cat>
          <c:val>
            <c:numRef>
              <c:f>Sheet1!$C$5:$C$6</c:f>
              <c:numCache>
                <c:formatCode>_("$"* #,##0_);_("$"* \(#,##0\);_("$"* "-"??_);_(@_)</c:formatCode>
                <c:ptCount val="2"/>
                <c:pt idx="0">
                  <c:v>35909</c:v>
                </c:pt>
                <c:pt idx="1">
                  <c:v>498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AEA-3E43-B890-AB53350113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5003136"/>
        <c:axId val="195047808"/>
      </c:barChart>
      <c:catAx>
        <c:axId val="1950031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95047808"/>
        <c:crosses val="autoZero"/>
        <c:auto val="1"/>
        <c:lblAlgn val="ctr"/>
        <c:lblOffset val="100"/>
        <c:noMultiLvlLbl val="0"/>
      </c:catAx>
      <c:valAx>
        <c:axId val="195047808"/>
        <c:scaling>
          <c:orientation val="minMax"/>
        </c:scaling>
        <c:delete val="0"/>
        <c:axPos val="l"/>
        <c:numFmt formatCode="_(&quot;$&quot;* #,##0_);_(&quot;$&quot;* \(#,##0\);_(&quot;$&quot;* &quot;-&quot;??_);_(@_)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9500313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2.2809745982374289E-2"/>
          <c:w val="1"/>
          <c:h val="0.8610447606354627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hart 1 data'!$A$6</c:f>
              <c:strCache>
                <c:ptCount val="1"/>
                <c:pt idx="0">
                  <c:v>FY19</c:v>
                </c:pt>
              </c:strCache>
            </c:strRef>
          </c:tx>
          <c:spPr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800"/>
                      <a:t>1,14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49A5-9A44-B27A-02BAD417833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800"/>
                      <a:t>5,00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49A5-9A44-B27A-02BAD417833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9A5-9A44-B27A-02BAD417833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Chart 1 data'!$B$5:$D$5</c:f>
              <c:strCache>
                <c:ptCount val="3"/>
                <c:pt idx="0">
                  <c:v>Students Enrolled</c:v>
                </c:pt>
                <c:pt idx="1">
                  <c:v>Credits Earned</c:v>
                </c:pt>
                <c:pt idx="2">
                  <c:v>Savings to Families</c:v>
                </c:pt>
              </c:strCache>
            </c:strRef>
          </c:cat>
          <c:val>
            <c:numRef>
              <c:f>'Chart 1 data'!$B$6:$D$6</c:f>
              <c:numCache>
                <c:formatCode>General</c:formatCode>
                <c:ptCount val="3"/>
                <c:pt idx="0">
                  <c:v>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9A5-9A44-B27A-02BAD4178335}"/>
            </c:ext>
          </c:extLst>
        </c:ser>
        <c:ser>
          <c:idx val="1"/>
          <c:order val="1"/>
          <c:tx>
            <c:strRef>
              <c:f>'Chart 1 data'!$A$7</c:f>
              <c:strCache>
                <c:ptCount val="1"/>
                <c:pt idx="0">
                  <c:v>FY20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800"/>
                      <a:t>2,06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49A5-9A44-B27A-02BAD417833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800"/>
                      <a:t>14,00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49A5-9A44-B27A-02BAD417833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9A5-9A44-B27A-02BAD417833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Chart 1 data'!$B$5:$D$5</c:f>
              <c:strCache>
                <c:ptCount val="3"/>
                <c:pt idx="0">
                  <c:v>Students Enrolled</c:v>
                </c:pt>
                <c:pt idx="1">
                  <c:v>Credits Earned</c:v>
                </c:pt>
                <c:pt idx="2">
                  <c:v>Savings to Families</c:v>
                </c:pt>
              </c:strCache>
            </c:strRef>
          </c:cat>
          <c:val>
            <c:numRef>
              <c:f>'Chart 1 data'!$B$7:$D$7</c:f>
              <c:numCache>
                <c:formatCode>General</c:formatCode>
                <c:ptCount val="3"/>
                <c:pt idx="0">
                  <c:v>1.8114035087719298</c:v>
                </c:pt>
                <c:pt idx="1">
                  <c:v>2.8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9A5-9A44-B27A-02BAD4178335}"/>
            </c:ext>
          </c:extLst>
        </c:ser>
        <c:ser>
          <c:idx val="2"/>
          <c:order val="2"/>
          <c:tx>
            <c:strRef>
              <c:f>'Chart 1 data'!$A$8</c:f>
              <c:strCache>
                <c:ptCount val="1"/>
                <c:pt idx="0">
                  <c:v>FY21 (projected)</c:v>
                </c:pt>
              </c:strCache>
            </c:strRef>
          </c:tx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z="1800"/>
                      <a:t>3,50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49A5-9A44-B27A-02BAD417833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z="1800"/>
                      <a:t>25,00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9-49A5-9A44-B27A-02BAD4178335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9A5-9A44-B27A-02BAD417833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Chart 1 data'!$B$5:$D$5</c:f>
              <c:strCache>
                <c:ptCount val="3"/>
                <c:pt idx="0">
                  <c:v>Students Enrolled</c:v>
                </c:pt>
                <c:pt idx="1">
                  <c:v>Credits Earned</c:v>
                </c:pt>
                <c:pt idx="2">
                  <c:v>Savings to Families</c:v>
                </c:pt>
              </c:strCache>
            </c:strRef>
          </c:cat>
          <c:val>
            <c:numRef>
              <c:f>'Chart 1 data'!$B$8:$D$8</c:f>
              <c:numCache>
                <c:formatCode>General</c:formatCode>
                <c:ptCount val="3"/>
                <c:pt idx="0">
                  <c:v>3.0701754385964914</c:v>
                </c:pt>
                <c:pt idx="1">
                  <c:v>5</c:v>
                </c:pt>
                <c:pt idx="2">
                  <c:v>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9A5-9A44-B27A-02BAD41783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2"/>
        <c:overlap val="-6"/>
        <c:axId val="194596864"/>
        <c:axId val="194598400"/>
      </c:barChart>
      <c:catAx>
        <c:axId val="19459686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2000"/>
            </a:pPr>
            <a:endParaRPr lang="en-US"/>
          </a:p>
        </c:txPr>
        <c:crossAx val="194598400"/>
        <c:crosses val="autoZero"/>
        <c:auto val="1"/>
        <c:lblAlgn val="ctr"/>
        <c:lblOffset val="100"/>
        <c:noMultiLvlLbl val="0"/>
      </c:catAx>
      <c:valAx>
        <c:axId val="1945984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945968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1.9723865877712032E-2"/>
          <c:y val="0.16381675463195405"/>
          <c:w val="0.23615327669840086"/>
          <c:h val="0.17055207912385759"/>
        </c:manualLayout>
      </c:layout>
      <c:overlay val="0"/>
      <c:txPr>
        <a:bodyPr/>
        <a:lstStyle/>
        <a:p>
          <a:pPr>
            <a:defRPr sz="18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448097833924605E-2"/>
          <c:y val="2.2401050324278405E-2"/>
          <c:w val="0.94706054050935939"/>
          <c:h val="0.85942480220965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B$8</c:f>
              <c:strCache>
                <c:ptCount val="1"/>
                <c:pt idx="0">
                  <c:v>Early College Students 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ata!$A$9:$A$12</c:f>
              <c:strCache>
                <c:ptCount val="4"/>
                <c:pt idx="0">
                  <c:v>Hispanic</c:v>
                </c:pt>
                <c:pt idx="1">
                  <c:v>Black</c:v>
                </c:pt>
                <c:pt idx="2">
                  <c:v>White</c:v>
                </c:pt>
                <c:pt idx="3">
                  <c:v>Asian</c:v>
                </c:pt>
              </c:strCache>
            </c:strRef>
          </c:cat>
          <c:val>
            <c:numRef>
              <c:f>Data!$B$9:$B$12</c:f>
              <c:numCache>
                <c:formatCode>0%</c:formatCode>
                <c:ptCount val="4"/>
                <c:pt idx="0">
                  <c:v>0.55000000000000004</c:v>
                </c:pt>
                <c:pt idx="1">
                  <c:v>0.24</c:v>
                </c:pt>
                <c:pt idx="2">
                  <c:v>0.14000000000000001</c:v>
                </c:pt>
                <c:pt idx="3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0C-2144-98EB-90775E0669B0}"/>
            </c:ext>
          </c:extLst>
        </c:ser>
        <c:ser>
          <c:idx val="1"/>
          <c:order val="1"/>
          <c:tx>
            <c:strRef>
              <c:f>Data!$C$8</c:f>
              <c:strCache>
                <c:ptCount val="1"/>
                <c:pt idx="0">
                  <c:v>Other Students in the Same High School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ata!$A$9:$A$12</c:f>
              <c:strCache>
                <c:ptCount val="4"/>
                <c:pt idx="0">
                  <c:v>Hispanic</c:v>
                </c:pt>
                <c:pt idx="1">
                  <c:v>Black</c:v>
                </c:pt>
                <c:pt idx="2">
                  <c:v>White</c:v>
                </c:pt>
                <c:pt idx="3">
                  <c:v>Asian</c:v>
                </c:pt>
              </c:strCache>
            </c:strRef>
          </c:cat>
          <c:val>
            <c:numRef>
              <c:f>Data!$C$9:$C$12</c:f>
              <c:numCache>
                <c:formatCode>0%</c:formatCode>
                <c:ptCount val="4"/>
                <c:pt idx="0">
                  <c:v>0.52</c:v>
                </c:pt>
                <c:pt idx="1">
                  <c:v>0.12</c:v>
                </c:pt>
                <c:pt idx="2">
                  <c:v>0.26</c:v>
                </c:pt>
                <c:pt idx="3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C0C-2144-98EB-90775E0669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4722048"/>
        <c:axId val="194727936"/>
      </c:barChart>
      <c:catAx>
        <c:axId val="1947220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2000"/>
            </a:pPr>
            <a:endParaRPr lang="en-US"/>
          </a:p>
        </c:txPr>
        <c:crossAx val="194727936"/>
        <c:crosses val="autoZero"/>
        <c:auto val="1"/>
        <c:lblAlgn val="ctr"/>
        <c:lblOffset val="100"/>
        <c:noMultiLvlLbl val="0"/>
      </c:catAx>
      <c:valAx>
        <c:axId val="194727936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2000"/>
            </a:pPr>
            <a:endParaRPr lang="en-US"/>
          </a:p>
        </c:txPr>
        <c:crossAx val="19472204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9699586423877471"/>
          <c:y val="4.9483851941949916E-2"/>
          <c:w val="0.38159349442221979"/>
          <c:h val="0.18957116137260974"/>
        </c:manualLayout>
      </c:layout>
      <c:overlay val="0"/>
      <c:txPr>
        <a:bodyPr/>
        <a:lstStyle/>
        <a:p>
          <a:pPr>
            <a:defRPr sz="20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203242887110126E-2"/>
          <c:y val="0.23703056778908338"/>
          <c:w val="0.92559351422577973"/>
          <c:h val="0.62279522466800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hart 3 data'!$A$2</c:f>
              <c:strCache>
                <c:ptCount val="1"/>
                <c:pt idx="0">
                  <c:v>Share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0389-8F41-BB5F-25023EA8736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Chart 3 data'!$B$1:$C$1</c:f>
              <c:strCache>
                <c:ptCount val="2"/>
                <c:pt idx="0">
                  <c:v>Students in Statistical Comparison Group</c:v>
                </c:pt>
                <c:pt idx="1">
                  <c:v>Students in Early College </c:v>
                </c:pt>
              </c:strCache>
            </c:strRef>
          </c:cat>
          <c:val>
            <c:numRef>
              <c:f>'Chart 3 data'!$B$2:$C$2</c:f>
              <c:numCache>
                <c:formatCode>0%</c:formatCode>
                <c:ptCount val="2"/>
                <c:pt idx="0">
                  <c:v>0.68</c:v>
                </c:pt>
                <c:pt idx="1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89-8F41-BB5F-25023EA873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4763008"/>
        <c:axId val="194764800"/>
      </c:barChart>
      <c:catAx>
        <c:axId val="1947630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194764800"/>
        <c:crosses val="autoZero"/>
        <c:auto val="1"/>
        <c:lblAlgn val="ctr"/>
        <c:lblOffset val="100"/>
        <c:noMultiLvlLbl val="0"/>
      </c:catAx>
      <c:valAx>
        <c:axId val="194764800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9476300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607840385161425E-2"/>
          <c:y val="0.1790633608815427"/>
          <c:w val="0.94911646116798454"/>
          <c:h val="0.741689334287759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Chart 2 and 4 data'!$C$6</c:f>
              <c:strCache>
                <c:ptCount val="1"/>
                <c:pt idx="0">
                  <c:v>Students in Statistical Comparison Group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Chart 2 and 4 data'!$A$7:$A$9</c:f>
              <c:strCache>
                <c:ptCount val="3"/>
                <c:pt idx="0">
                  <c:v>All Students</c:v>
                </c:pt>
                <c:pt idx="1">
                  <c:v>Black Students</c:v>
                </c:pt>
                <c:pt idx="2">
                  <c:v>Hispanic Students</c:v>
                </c:pt>
              </c:strCache>
            </c:strRef>
          </c:cat>
          <c:val>
            <c:numRef>
              <c:f>'Chart 2 and 4 data'!$C$7:$C$9</c:f>
              <c:numCache>
                <c:formatCode>0%</c:formatCode>
                <c:ptCount val="3"/>
                <c:pt idx="0">
                  <c:v>0.53</c:v>
                </c:pt>
                <c:pt idx="1">
                  <c:v>0.54</c:v>
                </c:pt>
                <c:pt idx="2">
                  <c:v>0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0E-6949-8C31-7A667197693C}"/>
            </c:ext>
          </c:extLst>
        </c:ser>
        <c:ser>
          <c:idx val="1"/>
          <c:order val="1"/>
          <c:tx>
            <c:strRef>
              <c:f>'Chart 2 and 4 data'!$B$6</c:f>
              <c:strCache>
                <c:ptCount val="1"/>
                <c:pt idx="0">
                  <c:v>Students in Early College 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Chart 2 and 4 data'!$A$7:$A$9</c:f>
              <c:strCache>
                <c:ptCount val="3"/>
                <c:pt idx="0">
                  <c:v>All Students</c:v>
                </c:pt>
                <c:pt idx="1">
                  <c:v>Black Students</c:v>
                </c:pt>
                <c:pt idx="2">
                  <c:v>Hispanic Students</c:v>
                </c:pt>
              </c:strCache>
            </c:strRef>
          </c:cat>
          <c:val>
            <c:numRef>
              <c:f>'Chart 2 and 4 data'!$B$7:$B$9</c:f>
              <c:numCache>
                <c:formatCode>0%</c:formatCode>
                <c:ptCount val="3"/>
                <c:pt idx="0">
                  <c:v>0.64</c:v>
                </c:pt>
                <c:pt idx="1">
                  <c:v>0.69</c:v>
                </c:pt>
                <c:pt idx="2">
                  <c:v>0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B0E-6949-8C31-7A66719769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2"/>
        <c:overlap val="-6"/>
        <c:axId val="194353792"/>
        <c:axId val="194367872"/>
      </c:barChart>
      <c:catAx>
        <c:axId val="1943537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194367872"/>
        <c:crosses val="autoZero"/>
        <c:auto val="1"/>
        <c:lblAlgn val="ctr"/>
        <c:lblOffset val="100"/>
        <c:noMultiLvlLbl val="0"/>
      </c:catAx>
      <c:valAx>
        <c:axId val="19436787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943537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248093466729524"/>
          <c:y val="9.8126809509000532E-2"/>
          <c:w val="0.37127850848633281"/>
          <c:h val="0.16251777502925907"/>
        </c:manualLayout>
      </c:layout>
      <c:overlay val="0"/>
      <c:txPr>
        <a:bodyPr/>
        <a:lstStyle/>
        <a:p>
          <a:pPr>
            <a:defRPr sz="18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416750023510898E-2"/>
          <c:y val="2.2401050324278405E-2"/>
          <c:w val="0.95758324997648914"/>
          <c:h val="0.9270533647409608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A$15</c:f>
              <c:strCache>
                <c:ptCount val="1"/>
                <c:pt idx="0">
                  <c:v>2-Year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3434-6340-B7B9-413E548E8EDA}"/>
              </c:ext>
            </c:extLst>
          </c:dPt>
          <c:cat>
            <c:strRef>
              <c:f>Data!$B$14:$C$14</c:f>
              <c:strCache>
                <c:ptCount val="2"/>
                <c:pt idx="0">
                  <c:v>Students in Statistical Control Group</c:v>
                </c:pt>
                <c:pt idx="1">
                  <c:v>Students in Early College </c:v>
                </c:pt>
              </c:strCache>
            </c:strRef>
          </c:cat>
          <c:val>
            <c:numRef>
              <c:f>Data!$B$15:$C$15</c:f>
              <c:numCache>
                <c:formatCode>0%</c:formatCode>
                <c:ptCount val="2"/>
                <c:pt idx="0">
                  <c:v>0.18</c:v>
                </c:pt>
                <c:pt idx="1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34-6340-B7B9-413E548E8EDA}"/>
            </c:ext>
          </c:extLst>
        </c:ser>
        <c:ser>
          <c:idx val="1"/>
          <c:order val="1"/>
          <c:tx>
            <c:strRef>
              <c:f>Data!$A$16</c:f>
              <c:strCache>
                <c:ptCount val="1"/>
                <c:pt idx="0">
                  <c:v>4-Year</c:v>
                </c:pt>
              </c:strCache>
            </c:strRef>
          </c:tx>
          <c:invertIfNegative val="0"/>
          <c:dPt>
            <c:idx val="1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4-3434-6340-B7B9-413E548E8EDA}"/>
              </c:ext>
            </c:extLst>
          </c:dPt>
          <c:cat>
            <c:strRef>
              <c:f>Data!$B$14:$C$14</c:f>
              <c:strCache>
                <c:ptCount val="2"/>
                <c:pt idx="0">
                  <c:v>Students in Statistical Control Group</c:v>
                </c:pt>
                <c:pt idx="1">
                  <c:v>Students in Early College </c:v>
                </c:pt>
              </c:strCache>
            </c:strRef>
          </c:cat>
          <c:val>
            <c:numRef>
              <c:f>Data!$B$16:$C$16</c:f>
              <c:numCache>
                <c:formatCode>0%</c:formatCode>
                <c:ptCount val="2"/>
                <c:pt idx="0">
                  <c:v>0.38</c:v>
                </c:pt>
                <c:pt idx="1">
                  <c:v>0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434-6340-B7B9-413E548E8E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4077440"/>
        <c:axId val="194078976"/>
      </c:barChart>
      <c:catAx>
        <c:axId val="19407744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194078976"/>
        <c:crosses val="autoZero"/>
        <c:auto val="1"/>
        <c:lblAlgn val="ctr"/>
        <c:lblOffset val="100"/>
        <c:noMultiLvlLbl val="0"/>
      </c:catAx>
      <c:valAx>
        <c:axId val="194078976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19407744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2416750023510898E-2"/>
          <c:y val="2.2401050324278405E-2"/>
          <c:w val="0.95758324997648914"/>
          <c:h val="0.9270533647409608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A$15</c:f>
              <c:strCache>
                <c:ptCount val="1"/>
                <c:pt idx="0">
                  <c:v>2-Year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ata!$B$14:$C$14</c:f>
              <c:strCache>
                <c:ptCount val="2"/>
                <c:pt idx="0">
                  <c:v>Students in Statistical Control Group</c:v>
                </c:pt>
                <c:pt idx="1">
                  <c:v>Students in Early College </c:v>
                </c:pt>
              </c:strCache>
            </c:strRef>
          </c:cat>
          <c:val>
            <c:numRef>
              <c:f>Data!$B$15:$C$15</c:f>
              <c:numCache>
                <c:formatCode>0%</c:formatCode>
                <c:ptCount val="2"/>
                <c:pt idx="0">
                  <c:v>0.18</c:v>
                </c:pt>
                <c:pt idx="1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55-534B-8601-B91EAA5DC0D4}"/>
            </c:ext>
          </c:extLst>
        </c:ser>
        <c:ser>
          <c:idx val="1"/>
          <c:order val="1"/>
          <c:tx>
            <c:strRef>
              <c:f>Data!$A$16</c:f>
              <c:strCache>
                <c:ptCount val="1"/>
                <c:pt idx="0">
                  <c:v>4-Year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Data!$B$14:$C$14</c:f>
              <c:strCache>
                <c:ptCount val="2"/>
                <c:pt idx="0">
                  <c:v>Students in Statistical Control Group</c:v>
                </c:pt>
                <c:pt idx="1">
                  <c:v>Students in Early College </c:v>
                </c:pt>
              </c:strCache>
            </c:strRef>
          </c:cat>
          <c:val>
            <c:numRef>
              <c:f>Data!$B$16:$C$16</c:f>
              <c:numCache>
                <c:formatCode>0%</c:formatCode>
                <c:ptCount val="2"/>
                <c:pt idx="0">
                  <c:v>0.38</c:v>
                </c:pt>
                <c:pt idx="1">
                  <c:v>0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E55-534B-8601-B91EAA5DC0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4127744"/>
        <c:axId val="194129280"/>
      </c:barChart>
      <c:catAx>
        <c:axId val="1941277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194129280"/>
        <c:crosses val="autoZero"/>
        <c:auto val="1"/>
        <c:lblAlgn val="ctr"/>
        <c:lblOffset val="100"/>
        <c:noMultiLvlLbl val="0"/>
      </c:catAx>
      <c:valAx>
        <c:axId val="194129280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en-US"/>
          </a:p>
        </c:txPr>
        <c:crossAx val="19412774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6.1629091966110099E-2"/>
          <c:y val="0.4810131052357689"/>
          <c:w val="0.12512443680696264"/>
          <c:h val="0.19371561044646901"/>
        </c:manualLayout>
      </c:layout>
      <c:overlay val="0"/>
      <c:txPr>
        <a:bodyPr/>
        <a:lstStyle/>
        <a:p>
          <a:pPr>
            <a:defRPr sz="1800"/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327</cdr:x>
      <cdr:y>0.68223</cdr:y>
    </cdr:from>
    <cdr:to>
      <cdr:x>0.82836</cdr:x>
      <cdr:y>0.7242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399534" y="4294228"/>
          <a:ext cx="1096633" cy="26436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800" dirty="0"/>
            <a:t>$1M</a:t>
          </a:r>
        </a:p>
      </cdr:txBody>
    </cdr:sp>
  </cdr:relSizeAnchor>
  <cdr:relSizeAnchor xmlns:cdr="http://schemas.openxmlformats.org/drawingml/2006/chartDrawing">
    <cdr:from>
      <cdr:x>0.79614</cdr:x>
      <cdr:y>0.39365</cdr:y>
    </cdr:from>
    <cdr:to>
      <cdr:x>0.8918</cdr:x>
      <cdr:y>0.43564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9126867" y="2477788"/>
          <a:ext cx="1096634" cy="2643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800" dirty="0"/>
            <a:t>$3M</a:t>
          </a:r>
        </a:p>
      </cdr:txBody>
    </cdr:sp>
  </cdr:relSizeAnchor>
  <cdr:relSizeAnchor xmlns:cdr="http://schemas.openxmlformats.org/drawingml/2006/chartDrawing">
    <cdr:from>
      <cdr:x>0.86368</cdr:x>
      <cdr:y>0.05436</cdr:y>
    </cdr:from>
    <cdr:to>
      <cdr:x>0.95934</cdr:x>
      <cdr:y>0.09635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9901133" y="342158"/>
          <a:ext cx="1096633" cy="2643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800" dirty="0"/>
            <a:t>$5.4M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6819</cdr:x>
      <cdr:y>0.27845</cdr:y>
    </cdr:from>
    <cdr:to>
      <cdr:x>0.34636</cdr:x>
      <cdr:y>0.4558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136900" y="14351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2000" b="1" dirty="0"/>
            <a:t>56%</a:t>
          </a:r>
        </a:p>
      </cdr:txBody>
    </cdr:sp>
  </cdr:relSizeAnchor>
  <cdr:relSizeAnchor xmlns:cdr="http://schemas.openxmlformats.org/drawingml/2006/chartDrawing">
    <cdr:from>
      <cdr:x>0.73507</cdr:x>
      <cdr:y>0.08625</cdr:y>
    </cdr:from>
    <cdr:to>
      <cdr:x>0.81325</cdr:x>
      <cdr:y>0.26367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8597900" y="4445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2000" b="1" dirty="0"/>
            <a:t>76%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6819</cdr:x>
      <cdr:y>0.27845</cdr:y>
    </cdr:from>
    <cdr:to>
      <cdr:x>0.34636</cdr:x>
      <cdr:y>0.4558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136900" y="14351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2000" b="1" dirty="0"/>
            <a:t>56%</a:t>
          </a:r>
        </a:p>
      </cdr:txBody>
    </cdr:sp>
  </cdr:relSizeAnchor>
  <cdr:relSizeAnchor xmlns:cdr="http://schemas.openxmlformats.org/drawingml/2006/chartDrawing">
    <cdr:from>
      <cdr:x>0.73507</cdr:x>
      <cdr:y>0.08625</cdr:y>
    </cdr:from>
    <cdr:to>
      <cdr:x>0.81325</cdr:x>
      <cdr:y>0.26367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8597900" y="44450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2000" b="1" dirty="0"/>
            <a:t>76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7664ED-A153-4CBB-81D5-B156766F4E5B}" type="datetimeFigureOut">
              <a:rPr lang="en-US" smtClean="0"/>
              <a:t>7/22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265660-3AA3-4A80-93C7-7CBE3047FC0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9159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7388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CCD5AF-71CD-4C88-AC55-E7BE057B2D3C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95277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D1A6E6-075E-4828-AF88-09BD0A7425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F3800DB-487B-4E23-AC0B-90C9ED4E10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4DF5B1-3694-42A9-866E-9F1FF6CF0C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7/2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718E67-8162-4BE0-9B01-22B89A120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568B9D-A8C9-40C5-85B0-14F435F39C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7383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6536FE-B6CA-4D45-A719-6B51F3FF6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B9388C-63B0-4DA8-97D0-BEEDCF401CA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D9BDB0-2A2B-43AC-965A-A9E7E7F741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7/2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7DA7C3-2A5B-4BED-A540-9136486CC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5888E8-31D6-4E51-9228-0D6066FED5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1606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D010CA-6776-433E-8E25-97899E08288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6391E6E-3CF5-4535-B37E-E30058EA28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6ADEE3-AAA7-4846-8EC6-84B1537C1D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7/2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1DABD6-6E60-4895-89B1-3604A484D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A4D314-6D1C-4A42-A445-B77646B2B2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5267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34D5D7-9AEB-44F2-8A04-0694BE1520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CE933F-693D-4770-8DC4-A5A086AC8A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2A7849A-1CE6-4F5C-95D7-EA8DA5EE55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7/2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FE1FD0-B95E-4CF6-9A27-0F91F96DAE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6123BE-5891-49D6-A758-867A98F38D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722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A85FC7-1BEA-438E-A0A7-88FF551122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D5F5C0-417B-4A28-8AE9-A79AC74A62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BC6257-C490-4059-9E97-16E46673C6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7/2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4051CD-74EC-43C1-9F21-D33BD297F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C95141-29DC-41BA-BE25-E899055F31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45323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34FC21-AE04-4050-80E6-D9DCA4B50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885F7E-EF45-48F7-9E54-C6806D0E96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24501F-6ED5-4112-B037-D3E9F8CF2C8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61E48C-176E-4E60-8CB3-5425169963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7/22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52202B-C929-4B39-AF47-D17C38F868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DEEEBF3-930A-4A23-810D-C1880E7A6D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33845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448E08-A828-430D-B8A6-7302E570A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1FF5402-465C-4E68-BF7E-BFE1177B55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69B917D-5EC9-44FC-B8A7-9ADF4ADC4F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3DCF5D4-E55C-42FF-A7E5-2466DE35B8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7579A7F-77F4-4169-8D51-21234419984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A735923-3BB5-4F33-8E76-56665E95B5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7/22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A43FC79-7089-4373-88DC-12501E7820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4E0BEB1-B009-47B7-B159-DE05E615E7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9726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65FFCC-78CC-4E9D-A277-8230F27334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44CEFE7-D923-48C1-B2FE-8110829C69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7/22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68F91C9-7841-4F7B-8F24-B5FF45B5B3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896739-CF17-4867-A5ED-317AD19F5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1143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8942B-5ECF-4556-91C2-496E4C52EF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7/22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E1589EF-E9AD-45F7-BFBE-6F8AD3570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18E0FA-5424-403C-8462-1B7C301C65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240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B27A56-C315-441C-9002-DFD599AED2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F57D9A-8037-4B31-951B-4675ADA693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63141B-5121-4179-B3F6-5295691222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60C32E-3427-4696-A55A-56886EA24A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7/22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DFE526-7D20-4EC0-9624-E779812957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AA82D7-E462-4060-85D6-85CF555401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3051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5E919B-BF68-4590-8CA9-A51BAC0F7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04BC1AA-5C68-47DC-BBF0-1E309865E5A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81A636-7F9C-43EC-B2F2-6FB3323CB79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D19410E-A050-4AA2-BC89-EF52EB1C34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D1C14C-A143-42F5-B247-D0E800131009}" type="datetimeFigureOut">
              <a:rPr lang="en-US" smtClean="0"/>
              <a:t>7/22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C23AB0-18A5-4589-926D-C00F68CFEA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754EE52-EECA-4C6E-83E9-6382044D35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6888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3F6010-77C4-45FE-968C-712199A58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9B1B2C-5D5F-46D9-92F5-ECDF2816A1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334894-C6F5-46F1-BAA2-AFEA88E6816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ED1C14C-A143-42F5-B247-D0E800131009}" type="datetimeFigureOut">
              <a:rPr lang="en-US" smtClean="0"/>
              <a:t>7/22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5B1C84-4663-4022-BBEA-7667FEBCF3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2820DA-1F3A-421F-A770-A6347089E3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03D32D-F1BC-4E9C-97E1-36CFF5B22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852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3924" y="125568"/>
            <a:ext cx="110743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/>
              <a:t>Massachusetts students raised in higher income families earn more as adults</a:t>
            </a:r>
          </a:p>
        </p:txBody>
      </p:sp>
      <p:graphicFrame>
        <p:nvGraphicFramePr>
          <p:cNvPr id="6" name="Chart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3225276"/>
              </p:ext>
            </p:extLst>
          </p:nvPr>
        </p:nvGraphicFramePr>
        <p:xfrm>
          <a:off x="777297" y="1513211"/>
          <a:ext cx="10641026" cy="51761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386880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1768723"/>
              </p:ext>
            </p:extLst>
          </p:nvPr>
        </p:nvGraphicFramePr>
        <p:xfrm>
          <a:off x="398486" y="574103"/>
          <a:ext cx="11395028" cy="57733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3"/>
          <p:cNvSpPr txBox="1"/>
          <p:nvPr/>
        </p:nvSpPr>
        <p:spPr>
          <a:xfrm>
            <a:off x="441372" y="348750"/>
            <a:ext cx="10920895" cy="15696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baseline="0" dirty="0"/>
              <a:t>FAFSA completion rates show Early College keeps students on track</a:t>
            </a:r>
          </a:p>
          <a:p>
            <a:endParaRPr lang="en-US" sz="32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508001" y="6450674"/>
            <a:ext cx="4129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 MA Department of Elementary &amp; Secondary Education</a:t>
            </a:r>
          </a:p>
        </p:txBody>
      </p:sp>
    </p:spTree>
    <p:extLst>
      <p:ext uri="{BB962C8B-B14F-4D97-AF65-F5344CB8AC3E}">
        <p14:creationId xmlns:p14="http://schemas.microsoft.com/office/powerpoint/2010/main" val="17646981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5904783"/>
              </p:ext>
            </p:extLst>
          </p:nvPr>
        </p:nvGraphicFramePr>
        <p:xfrm>
          <a:off x="254000" y="1296856"/>
          <a:ext cx="11696700" cy="51538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08001" y="6450674"/>
            <a:ext cx="4129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 MA Department of Elementary &amp; Secondary Educat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07458" y="200409"/>
            <a:ext cx="10717741" cy="1106248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baseline="0" dirty="0"/>
              <a:t>Students in Early College</a:t>
            </a:r>
            <a:r>
              <a:rPr lang="en-US" sz="3200" b="1" dirty="0"/>
              <a:t> are 20-percentage points more likely to continue their post-secondary education after high school</a:t>
            </a:r>
          </a:p>
        </p:txBody>
      </p:sp>
    </p:spTree>
    <p:extLst>
      <p:ext uri="{BB962C8B-B14F-4D97-AF65-F5344CB8AC3E}">
        <p14:creationId xmlns:p14="http://schemas.microsoft.com/office/powerpoint/2010/main" val="15160536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7544820"/>
              </p:ext>
            </p:extLst>
          </p:nvPr>
        </p:nvGraphicFramePr>
        <p:xfrm>
          <a:off x="254000" y="1296856"/>
          <a:ext cx="11696700" cy="51538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08001" y="6450674"/>
            <a:ext cx="4129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 MA Department of Elementary &amp; Secondary Educat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07458" y="200409"/>
            <a:ext cx="10717741" cy="1106248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baseline="0" dirty="0"/>
              <a:t>Students in Early College</a:t>
            </a:r>
            <a:r>
              <a:rPr lang="en-US" sz="3200" b="1" dirty="0"/>
              <a:t> are more likely to enroll in both 2- </a:t>
            </a:r>
            <a:r>
              <a:rPr lang="en-US" sz="3200" b="1" i="1" dirty="0"/>
              <a:t>and</a:t>
            </a:r>
            <a:r>
              <a:rPr lang="en-US" sz="3200" b="1" dirty="0"/>
              <a:t> 4-year institutions</a:t>
            </a:r>
          </a:p>
        </p:txBody>
      </p:sp>
    </p:spTree>
    <p:extLst>
      <p:ext uri="{BB962C8B-B14F-4D97-AF65-F5344CB8AC3E}">
        <p14:creationId xmlns:p14="http://schemas.microsoft.com/office/powerpoint/2010/main" val="27859020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9" t="2861" r="3725" b="4356"/>
          <a:stretch/>
        </p:blipFill>
        <p:spPr bwMode="auto">
          <a:xfrm>
            <a:off x="508000" y="1098490"/>
            <a:ext cx="10661353" cy="53521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D1E52F9-AAD6-47B4-BB4E-6657163627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116508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E2F5D4C-CC5F-440F-848B-4B24F43348E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600" b="1" dirty="0">
              <a:latin typeface="Arial Nova" panose="020B0504020202020204" pitchFamily="34" charset="0"/>
              <a:ea typeface="+mj-ea"/>
              <a:cs typeface="+mj-cs"/>
              <a:sym typeface="Arial Nova" panose="020B05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11480800" y="6356353"/>
            <a:ext cx="3657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zh-CN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27229C-EC7B-4063-A33B-28A5E87E32ED}" type="slidenum">
              <a:rPr lang="zh-CN" altLang="en-US" smtClean="0"/>
              <a:pPr/>
              <a:t>2</a:t>
            </a:fld>
            <a:endParaRPr lang="en-US"/>
          </a:p>
        </p:txBody>
      </p:sp>
      <p:sp>
        <p:nvSpPr>
          <p:cNvPr id="19" name="Rectangle 148">
            <a:extLst>
              <a:ext uri="{FF2B5EF4-FFF2-40B4-BE49-F238E27FC236}">
                <a16:creationId xmlns:a16="http://schemas.microsoft.com/office/drawing/2014/main" id="{520B31B5-4AF2-46A2-8A10-5DA60E0344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94572" y="1221187"/>
            <a:ext cx="549028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/>
            <a:r>
              <a:rPr lang="en-US" altLang="en-US" sz="1400" b="1" dirty="0">
                <a:latin typeface="Arial Nova" panose="020B0504020202020204" pitchFamily="34" charset="0"/>
              </a:rPr>
              <a:t>Total 2019 earnings by MCAS percentile, four-year college graduates</a:t>
            </a:r>
          </a:p>
        </p:txBody>
      </p:sp>
      <p:sp>
        <p:nvSpPr>
          <p:cNvPr id="186" name="Rectangle 185"/>
          <p:cNvSpPr/>
          <p:nvPr/>
        </p:nvSpPr>
        <p:spPr>
          <a:xfrm>
            <a:off x="343924" y="125568"/>
            <a:ext cx="110743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/>
              <a:t>Higher education </a:t>
            </a:r>
            <a:r>
              <a:rPr lang="en-US" sz="3200" b="1" i="1" dirty="0"/>
              <a:t>can </a:t>
            </a:r>
            <a:r>
              <a:rPr lang="en-US" sz="3200" b="1" dirty="0"/>
              <a:t>lift all boats.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508001" y="6450674"/>
            <a:ext cx="19226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 </a:t>
            </a:r>
            <a:r>
              <a:rPr lang="en-US" sz="1200" dirty="0" err="1"/>
              <a:t>Pappay</a:t>
            </a:r>
            <a:r>
              <a:rPr lang="en-US" sz="1200" dirty="0"/>
              <a:t> et al (2020)</a:t>
            </a:r>
          </a:p>
        </p:txBody>
      </p:sp>
    </p:spTree>
    <p:extLst>
      <p:ext uri="{BB962C8B-B14F-4D97-AF65-F5344CB8AC3E}">
        <p14:creationId xmlns:p14="http://schemas.microsoft.com/office/powerpoint/2010/main" val="14350566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95"/>
          <a:stretch/>
        </p:blipFill>
        <p:spPr>
          <a:xfrm>
            <a:off x="2572637" y="1317144"/>
            <a:ext cx="6593326" cy="499806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69333" y="125568"/>
            <a:ext cx="110743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/>
              <a:t>Black and Hispanic students are earning post-secondary degrees at half the rate of white students. And the gap is growing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08001" y="6450674"/>
            <a:ext cx="4129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 MA Department of Elementary &amp; Secondary Education</a:t>
            </a:r>
          </a:p>
        </p:txBody>
      </p:sp>
    </p:spTree>
    <p:extLst>
      <p:ext uri="{BB962C8B-B14F-4D97-AF65-F5344CB8AC3E}">
        <p14:creationId xmlns:p14="http://schemas.microsoft.com/office/powerpoint/2010/main" val="3663491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60"/>
          <a:stretch/>
        </p:blipFill>
        <p:spPr>
          <a:xfrm>
            <a:off x="355599" y="1329687"/>
            <a:ext cx="8003057" cy="5126758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8317096" y="3556000"/>
            <a:ext cx="391643" cy="304800"/>
          </a:xfrm>
          <a:prstGeom prst="rect">
            <a:avLst/>
          </a:prstGeom>
          <a:solidFill>
            <a:srgbClr val="3366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8317096" y="4000500"/>
            <a:ext cx="391643" cy="30480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8317096" y="3111500"/>
            <a:ext cx="391643" cy="3048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8317096" y="2667000"/>
            <a:ext cx="391643" cy="304800"/>
          </a:xfrm>
          <a:prstGeom prst="rect">
            <a:avLst/>
          </a:prstGeom>
          <a:solidFill>
            <a:srgbClr val="F6EB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718736" y="2634734"/>
            <a:ext cx="28827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id not graduate high schoo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8718736" y="3079234"/>
            <a:ext cx="34240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High school graduate, not enrolled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718736" y="3523734"/>
            <a:ext cx="2549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nrolled in 2-year colleg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718736" y="3955534"/>
            <a:ext cx="25499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Enrolled in 4-year colleg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8001" y="6450674"/>
            <a:ext cx="4129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 MA Department of Elementary &amp; Secondary Educati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69333" y="125568"/>
            <a:ext cx="110743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/>
              <a:t>Black and Hispanic students are much less likely to move on to four-year colleges immediately after high school.</a:t>
            </a:r>
          </a:p>
        </p:txBody>
      </p:sp>
    </p:spTree>
    <p:extLst>
      <p:ext uri="{BB962C8B-B14F-4D97-AF65-F5344CB8AC3E}">
        <p14:creationId xmlns:p14="http://schemas.microsoft.com/office/powerpoint/2010/main" val="22434487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550"/>
          <a:stretch/>
        </p:blipFill>
        <p:spPr>
          <a:xfrm>
            <a:off x="677333" y="1202786"/>
            <a:ext cx="9096431" cy="56838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69333" y="125568"/>
            <a:ext cx="110743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/>
              <a:t>Few students at the state’s two-year institutions are able to attend full-time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08001" y="6450674"/>
            <a:ext cx="10817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 IPEDS</a:t>
            </a:r>
          </a:p>
        </p:txBody>
      </p:sp>
    </p:spTree>
    <p:extLst>
      <p:ext uri="{BB962C8B-B14F-4D97-AF65-F5344CB8AC3E}">
        <p14:creationId xmlns:p14="http://schemas.microsoft.com/office/powerpoint/2010/main" val="33741362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78" t="13542" r="16562" b="31770"/>
          <a:stretch/>
        </p:blipFill>
        <p:spPr bwMode="auto">
          <a:xfrm>
            <a:off x="597002" y="1333501"/>
            <a:ext cx="10709084" cy="5024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169333" y="125568"/>
            <a:ext cx="110743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/>
              <a:t>Gaps in college graduation rates are large even for students</a:t>
            </a:r>
          </a:p>
          <a:p>
            <a:r>
              <a:rPr lang="en-US" sz="3200" b="1" dirty="0"/>
              <a:t>with the same MCAS scor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8001" y="6450674"/>
            <a:ext cx="192264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 </a:t>
            </a:r>
            <a:r>
              <a:rPr lang="en-US" sz="1200" dirty="0" err="1"/>
              <a:t>Pappay</a:t>
            </a:r>
            <a:r>
              <a:rPr lang="en-US" sz="1200" dirty="0"/>
              <a:t> et al (2020)</a:t>
            </a:r>
          </a:p>
        </p:txBody>
      </p:sp>
    </p:spTree>
    <p:extLst>
      <p:ext uri="{BB962C8B-B14F-4D97-AF65-F5344CB8AC3E}">
        <p14:creationId xmlns:p14="http://schemas.microsoft.com/office/powerpoint/2010/main" val="8960245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9255599"/>
              </p:ext>
            </p:extLst>
          </p:nvPr>
        </p:nvGraphicFramePr>
        <p:xfrm>
          <a:off x="413437" y="414868"/>
          <a:ext cx="11463867" cy="6174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/>
          <p:cNvSpPr/>
          <p:nvPr/>
        </p:nvSpPr>
        <p:spPr>
          <a:xfrm>
            <a:off x="413437" y="230201"/>
            <a:ext cx="1049492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/>
              <a:t>Massachusetts is scaling high-quality Early College programs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08001" y="6450674"/>
            <a:ext cx="4129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 MA Department of Elementary &amp; Secondary Education</a:t>
            </a:r>
          </a:p>
        </p:txBody>
      </p:sp>
    </p:spTree>
    <p:extLst>
      <p:ext uri="{BB962C8B-B14F-4D97-AF65-F5344CB8AC3E}">
        <p14:creationId xmlns:p14="http://schemas.microsoft.com/office/powerpoint/2010/main" val="25124096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5817524"/>
              </p:ext>
            </p:extLst>
          </p:nvPr>
        </p:nvGraphicFramePr>
        <p:xfrm>
          <a:off x="203200" y="1130300"/>
          <a:ext cx="11823700" cy="5445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/>
          <p:cNvSpPr/>
          <p:nvPr/>
        </p:nvSpPr>
        <p:spPr>
          <a:xfrm>
            <a:off x="413437" y="230201"/>
            <a:ext cx="116653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/>
              <a:t>Early College programs are reaching the most underserved student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08001" y="6450674"/>
            <a:ext cx="4129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 MA Department of Elementary &amp; Secondary Education</a:t>
            </a:r>
          </a:p>
        </p:txBody>
      </p:sp>
    </p:spTree>
    <p:extLst>
      <p:ext uri="{BB962C8B-B14F-4D97-AF65-F5344CB8AC3E}">
        <p14:creationId xmlns:p14="http://schemas.microsoft.com/office/powerpoint/2010/main" val="25732595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5696266"/>
              </p:ext>
            </p:extLst>
          </p:nvPr>
        </p:nvGraphicFramePr>
        <p:xfrm>
          <a:off x="407457" y="281781"/>
          <a:ext cx="11445875" cy="62944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3"/>
          <p:cNvSpPr txBox="1"/>
          <p:nvPr/>
        </p:nvSpPr>
        <p:spPr>
          <a:xfrm>
            <a:off x="407458" y="200409"/>
            <a:ext cx="10717741" cy="1106248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baseline="0" dirty="0"/>
              <a:t>Early College students tackle more rigorous </a:t>
            </a:r>
            <a:r>
              <a:rPr lang="en-US" sz="3200" b="1" baseline="0" dirty="0" err="1"/>
              <a:t>MassCore</a:t>
            </a:r>
            <a:r>
              <a:rPr lang="en-US" sz="3200" b="1" baseline="0" dirty="0"/>
              <a:t> classes</a:t>
            </a:r>
            <a:endParaRPr lang="en-US" sz="32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508001" y="6450674"/>
            <a:ext cx="41292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Source:  MA Department of Elementary &amp; Secondary Education</a:t>
            </a:r>
          </a:p>
        </p:txBody>
      </p:sp>
    </p:spTree>
    <p:extLst>
      <p:ext uri="{BB962C8B-B14F-4D97-AF65-F5344CB8AC3E}">
        <p14:creationId xmlns:p14="http://schemas.microsoft.com/office/powerpoint/2010/main" val="13433798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mfaHz.oNyWdDFgNVmHF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010</TotalTime>
  <Words>295</Words>
  <Application>Microsoft Macintosh PowerPoint</Application>
  <PresentationFormat>Widescreen</PresentationFormat>
  <Paragraphs>44</Paragraphs>
  <Slides>1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Arial Nova</vt:lpstr>
      <vt:lpstr>Calibri</vt:lpstr>
      <vt:lpstr>Calibri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arly College Performance</dc:title>
  <dc:creator>Erika Giampietro</dc:creator>
  <cp:lastModifiedBy>Meridith St Jean</cp:lastModifiedBy>
  <cp:revision>29</cp:revision>
  <dcterms:created xsi:type="dcterms:W3CDTF">2020-06-09T23:37:39Z</dcterms:created>
  <dcterms:modified xsi:type="dcterms:W3CDTF">2020-07-22T16:58:32Z</dcterms:modified>
</cp:coreProperties>
</file>